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</p:sldMasterIdLst>
  <p:sldIdLst>
    <p:sldId id="302" r:id="rId3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59" d="100"/>
          <a:sy n="59" d="100"/>
        </p:scale>
        <p:origin x="82" y="46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6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6" Type="http://schemas.openxmlformats.org/officeDocument/2006/relationships/oleObject" Target="../embeddings/oleObject18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3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9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0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97.xml"/><Relationship Id="rId7" Type="http://schemas.openxmlformats.org/officeDocument/2006/relationships/image" Target="../media/image11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38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6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38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6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193.vml"/><Relationship Id="rId6" Type="http://schemas.openxmlformats.org/officeDocument/2006/relationships/oleObject" Target="../embeddings/oleObject19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5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38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3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103210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639041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35283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868046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13547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8706255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4759135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7475739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87682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tags" Target="../tags/tag187.xml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tags" Target="../tags/tag186.xml"/><Relationship Id="rId2" Type="http://schemas.openxmlformats.org/officeDocument/2006/relationships/slideLayout" Target="../slideLayouts/slideLayout29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vmlDrawing" Target="../drawings/vmlDrawing186.v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6.emf"/><Relationship Id="rId10" Type="http://schemas.openxmlformats.org/officeDocument/2006/relationships/theme" Target="../theme/theme38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oleObject" Target="../embeddings/oleObject18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567e4c4ebbda6b4c60bac02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9942D10-E296-4823-B94B-4A0DFCE1F61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9784f55817e1834460c601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4B0CFCF-7620-4541-AEF1-BDF7E5D2F68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9ab49a9a2ee344297728dd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2AFFA617-77E1-484E-A2E4-9D8D21159E8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bf847d29b4d89910913d42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F4B227D-67D5-4874-92DB-7A9F48ED771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73f40f8bfb7de02562f10f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F730F54-9F98-4CFD-B459-04ECB59C99C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faa407caf1ea1619fb3b1b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6844D0F-82D0-4442-86B7-106B499E1AB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3d34e15a9f778b240e68af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86A9312-C9DC-4901-B8B1-6B66C27FBC5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9bd4a10afd4c4daaf204f4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5FCB9E5-583A-432D-B777-6B849581CF2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5444033b41a04b24320b96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432B08A-C443-4D95-A110-B6F0AFDEBFC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bd746aba6390efdf43cae95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EDAE7CB-E627-4C26-BF8A-0A7C343831C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4684b10b9b19ecdf68a3a6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5F6A67D-87D2-45F2-8919-0EBFA572D6D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8bc46cbbaeef6bfc97f676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D829DE8-302A-44B2-8C64-2FAE525AFB1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4904c81adfb05ddcc7628c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5DB60266-AB1C-41A2-9E75-9621890880B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dd34468bade43148c10fac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52AC667-154B-4D5A-8D5B-1AEC01173F4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463480f8322d820133febb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CC6D0F4-47D2-455A-AE90-BD6FDDBAA95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0d1442198aa27deb069e5a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91032A1-0BF0-49CC-BCA4-8564DEE34F6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40d4dcf83f282ddc8288e2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EE488E7-FE06-4998-BC6E-A2F429FCAC5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4a941c598dc9f5d4e21e4d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4081FA8-024A-4C44-8972-7018D2C538DC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26b44efb777c694800e1b7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10E3A3BA-C4F7-40D7-9697-1E9A8548C07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1744f90ae7bd19f1a6b682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8FF858F-EF20-48A6-9EAA-F509CE89A42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67846ecae80f0cd74ed9b1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E3C3BFD-A1C8-48E6-83D3-7E9EDE2258A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cb34344a6588749bfd61cd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35F8621-2241-4AD3-9540-20A35EEA986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2584a38aee4d4f24d9cf15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FDBC987-F83A-454C-9DA9-82217094A92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89a4226b8ac5475a9ad8c2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54B476F-00BA-4067-99B6-EE3C289059D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f0564e7390ade397b75b7e5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0CC0008-01A8-43A9-80A3-5A351752DE0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b464ef6a6ce4fb0af6a4bf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BA9AF57-9BB5-4B89-B33D-C45A60F32CE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15a4831a22717cf1c350e20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18DAFAE-F69E-4BC9-AB4C-F325E2A3889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659449988269c23c206a80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5B123FB4-5488-4B0A-9996-9793361361A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bbf47ae8b09a5c9aaf943a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12BEF8D-680C-4209-BBFE-EDF46F08D50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658457d91a140dc9315b5b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737168A-2178-444F-A21D-4666FF57F82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7284749a47904459dbeed2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BB3B1B7-269D-4381-A913-A083C2452D2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Thu, 14 March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a559497480b2e2c25634694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C26E4B16-1032-4400-A279-1DE4C4D22E6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366204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0794676ac67903f28933ba0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50B1C17C-6A17-475F-9503-5CA5601B977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ddc40188e2c1332f90aba7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0FB11D1-5B0A-41B6-B2A9-FC0E2FC79D1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f7454e5881d385898644b50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5EC91D6-E438-4359-8E3F-27A1E4E924D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3c4414caf3f66c744e0593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DB5168F7-BB88-4434-B5C0-5ED3FD77615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1544e2a8f41ab9c1002009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CF807D16-9E24-4B9B-A5AA-A5E02F8920A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6574bb8b4b5dc8217e6d53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6E7A158-2E51-476D-8C75-D4A58C67F62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0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118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68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22118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4499992" y="1762292"/>
          <a:ext cx="4122100" cy="3970964"/>
        </p:xfrm>
        <a:graphic>
          <a:graphicData uri="http://schemas.openxmlformats.org/drawingml/2006/table">
            <a:tbl>
              <a:tblPr/>
              <a:tblGrid>
                <a:gridCol w="244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87502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83124"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e durchschnittliche Lebensdauer beträgt 18.000 Stunden oder 3 Jahr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erbesserter Dehnwiderstand bedeutet bessere Synchronisierung während des Rohlingstransfer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ptimiertes Profil des Verbindungsteils, um Reibung vorzubeugen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olyacetalring für einen verbesserten Kontakt mit dem Spannrad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Innerer Kettenführungsring aus Eralyt: 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erhindert den Verschleiß der selbstschmierenden Buchs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Wartungsplan und Bausatz verfügba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Quick Change und Nicht-Quick Change Versionen 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ind verfügba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Kann anstelle einer Standard-Kette installiert werden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120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1"/>
              <a:t>Eine um 50% erhöhte Lebensdauer der Kette</a:t>
            </a:r>
            <a:endParaRPr lang="fr-FR" b="0" noProof="1"/>
          </a:p>
        </p:txBody>
      </p:sp>
      <p:sp>
        <p:nvSpPr>
          <p:cNvPr id="221205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2463" y="1439252"/>
            <a:ext cx="7997825" cy="307975"/>
          </a:xfrm>
        </p:spPr>
        <p:txBody>
          <a:bodyPr>
            <a:spAutoFit/>
          </a:bodyPr>
          <a:lstStyle/>
          <a:p>
            <a:r>
              <a:rPr lang="fr-FR" noProof="1"/>
              <a:t>Langlebige Spindelkette (Schließkopftechnologie)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2463" y="5862638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Kostenoptimierung, Effizienz, Obsoleszen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Series 2 Blasmaschinen (MM, GM, TM, Ofenschritt 40 oder 50mm, Ofen mit bevorzugtem Heizen, geführter Typ (W Lager))</a:t>
            </a:r>
            <a:endParaRPr kumimoji="0" lang="de-DE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967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45916" y="1765949"/>
          <a:ext cx="3854076" cy="3967308"/>
        </p:xfrm>
        <a:graphic>
          <a:graphicData uri="http://schemas.openxmlformats.org/drawingml/2006/table">
            <a:tbl>
              <a:tblPr/>
              <a:tblGrid>
                <a:gridCol w="3854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430">
                <a:tc>
                  <a:txBody>
                    <a:bodyPr/>
                    <a:lstStyle>
                      <a:lvl1pPr marL="190500" indent="-1905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UTZEN UND VORTEILE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25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3878">
                <a:tc>
                  <a:txBody>
                    <a:bodyPr/>
                    <a:lstStyle>
                      <a:lvl1pPr marL="180975" indent="-180975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iese neue Lösung, kombiniert mit den neuen Materialien (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Polyacetal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und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rtalyte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), verringert die Ausdehnung der Kette und </a:t>
                      </a: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rhöht die Lebensdauer um 50%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ie Verwendung dieser neuen Rohmaterialien verringert auch die Reibung und verhindert die Kontamination. Das Ergebnis sind um bis zu </a:t>
                      </a: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30% geringere Instandhaltungskosten</a:t>
                      </a:r>
                    </a:p>
                  </a:txBody>
                  <a:tcPr marL="108011" marR="108011" marT="36008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2120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47664" y="4148113"/>
            <a:ext cx="2076450" cy="137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2B089C26-48A2-471F-A33E-871E1850AEBB}"/>
              </a:ext>
            </a:extLst>
          </p:cNvPr>
          <p:cNvSpPr/>
          <p:nvPr/>
        </p:nvSpPr>
        <p:spPr>
          <a:xfrm>
            <a:off x="4743759" y="1732162"/>
            <a:ext cx="3869372" cy="41978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151065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4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3" baseType="lpstr">
      <vt:lpstr>MS PGothic</vt:lpstr>
      <vt:lpstr>Arial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LIOMT</vt:lpstr>
      <vt:lpstr>think-cell Folie</vt:lpstr>
      <vt:lpstr>Eine um 50% erhöhte Lebensdauer der Kett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4</cp:revision>
  <dcterms:created xsi:type="dcterms:W3CDTF">2014-05-22T13:23:46Z</dcterms:created>
  <dcterms:modified xsi:type="dcterms:W3CDTF">2019-03-14T15:3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07T10:10:13.9960047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07T10:10:13.9960047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